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2" r:id="rId2"/>
    <p:sldMasterId id="2147483665" r:id="rId3"/>
  </p:sldMasterIdLst>
  <p:notesMasterIdLst>
    <p:notesMasterId r:id="rId15"/>
  </p:notesMasterIdLst>
  <p:sldIdLst>
    <p:sldId id="288" r:id="rId4"/>
    <p:sldId id="289" r:id="rId5"/>
    <p:sldId id="291" r:id="rId6"/>
    <p:sldId id="292" r:id="rId7"/>
    <p:sldId id="293" r:id="rId8"/>
    <p:sldId id="294" r:id="rId9"/>
    <p:sldId id="295" r:id="rId10"/>
    <p:sldId id="296" r:id="rId11"/>
    <p:sldId id="297" r:id="rId12"/>
    <p:sldId id="298" r:id="rId13"/>
    <p:sldId id="290" r:id="rId14"/>
  </p:sldIdLst>
  <p:sldSz cx="9144000" cy="5143500" type="screen16x9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7B"/>
    <a:srgbClr val="FCD005"/>
    <a:srgbClr val="00B050"/>
    <a:srgbClr val="FF0000"/>
    <a:srgbClr val="FFC000"/>
    <a:srgbClr val="000000"/>
    <a:srgbClr val="204C82"/>
    <a:srgbClr val="003C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64" autoAdjust="0"/>
    <p:restoredTop sz="89846" autoAdjust="0"/>
  </p:normalViewPr>
  <p:slideViewPr>
    <p:cSldViewPr>
      <p:cViewPr varScale="1">
        <p:scale>
          <a:sx n="109" d="100"/>
          <a:sy n="109" d="100"/>
        </p:scale>
        <p:origin x="-90" y="-36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A81E48A6-6E8F-4153-874A-B5052ABADFA7}" type="datetimeFigureOut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C15F35D-98A0-4DC5-B076-2482681D709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223152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hape 118"/>
          <p:cNvSpPr txBox="1"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91425" rIns="91425" bIns="91425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3795" name="Shape 119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custGeom>
            <a:avLst/>
            <a:gdLst>
              <a:gd name="T0" fmla="*/ 0 w 120000"/>
              <a:gd name="T1" fmla="*/ 0 h 120000"/>
              <a:gd name="T2" fmla="*/ 120000 w 120000"/>
              <a:gd name="T3" fmla="*/ 0 h 120000"/>
              <a:gd name="T4" fmla="*/ 120000 w 120000"/>
              <a:gd name="T5" fmla="*/ 120000 h 120000"/>
              <a:gd name="T6" fmla="*/ 0 w 120000"/>
              <a:gd name="T7" fmla="*/ 120000 h 120000"/>
              <a:gd name="T8" fmla="*/ 0 w 120000"/>
              <a:gd name="T9" fmla="*/ 0 h 120000"/>
              <a:gd name="T10" fmla="*/ 0 w 120000"/>
              <a:gd name="T11" fmla="*/ 0 h 120000"/>
              <a:gd name="T12" fmla="*/ 120000 w 120000"/>
              <a:gd name="T13" fmla="*/ 120000 h 12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T10" t="T11" r="T12" b="T13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  <p:extLst>
      <p:ext uri="{BB962C8B-B14F-4D97-AF65-F5344CB8AC3E}">
        <p14:creationId xmlns:p14="http://schemas.microsoft.com/office/powerpoint/2010/main" val="32971973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13E0883-82B3-470B-BD6F-DFF8E572874F}" type="slidenum">
              <a:rPr lang="ru-RU" altLang="ru-RU"/>
              <a:pPr/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2851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13E0883-82B3-470B-BD6F-DFF8E572874F}" type="slidenum">
              <a:rPr lang="ru-RU" altLang="ru-RU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2851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13E0883-82B3-470B-BD6F-DFF8E572874F}" type="slidenum">
              <a:rPr lang="ru-RU" altLang="ru-RU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28511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13E0883-82B3-470B-BD6F-DFF8E572874F}" type="slidenum">
              <a:rPr lang="ru-RU" altLang="ru-RU"/>
              <a:pPr/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28511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13E0883-82B3-470B-BD6F-DFF8E572874F}" type="slidenum">
              <a:rPr lang="ru-RU" altLang="ru-RU"/>
              <a:pPr/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28511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13E0883-82B3-470B-BD6F-DFF8E572874F}" type="slidenum">
              <a:rPr lang="ru-RU" altLang="ru-RU"/>
              <a:pPr/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28511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13E0883-82B3-470B-BD6F-DFF8E572874F}" type="slidenum">
              <a:rPr lang="ru-RU" altLang="ru-RU"/>
              <a:pPr/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28511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13E0883-82B3-470B-BD6F-DFF8E572874F}" type="slidenum">
              <a:rPr lang="ru-RU" altLang="ru-RU"/>
              <a:pPr/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28511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13E0883-82B3-470B-BD6F-DFF8E572874F}" type="slidenum">
              <a:rPr lang="ru-RU" altLang="ru-RU"/>
              <a:pPr/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2851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A20FE9-2DC7-4CD4-8503-147329763560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475FD72-0068-4FA8-B05A-B0BC05EF9CC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425052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5913FD-9816-4789-B263-9051D11C82F3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FC0AC9-85FE-4819-94D6-C55245DD4D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308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EDE26F-A609-40FC-BD44-DA24CF761F2F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E96F29-9BD3-4530-AEC8-E224474655A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5134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title"/>
          </p:nvPr>
        </p:nvSpPr>
        <p:spPr>
          <a:xfrm>
            <a:off x="628662" y="273843"/>
            <a:ext cx="7886699" cy="99417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9" name="Shape 29"/>
          <p:cNvSpPr txBox="1">
            <a:spLocks noGrp="1"/>
          </p:cNvSpPr>
          <p:nvPr>
            <p:ph type="body" idx="1"/>
          </p:nvPr>
        </p:nvSpPr>
        <p:spPr>
          <a:xfrm>
            <a:off x="314607" y="900033"/>
            <a:ext cx="8511533" cy="363507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361660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-15875" y="4710113"/>
            <a:ext cx="9159875" cy="519112"/>
          </a:xfrm>
          <a:prstGeom prst="rect">
            <a:avLst/>
          </a:prstGeom>
          <a:solidFill>
            <a:srgbClr val="002E6C"/>
          </a:solidFill>
          <a:ln>
            <a:noFill/>
          </a:ln>
          <a:extLst/>
        </p:spPr>
        <p:txBody>
          <a:bodyPr lIns="82809" tIns="43061" rIns="82809" bIns="43061" anchor="ctr">
            <a:spAutoFit/>
          </a:bodyPr>
          <a:lstStyle>
            <a:lvl1pPr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ru-RU" altLang="ru-RU" sz="1400" smtClean="0">
              <a:solidFill>
                <a:srgbClr val="BFBFBF"/>
              </a:solidFill>
              <a:latin typeface="Arial" charset="0"/>
            </a:endParaRPr>
          </a:p>
          <a:p>
            <a:pPr algn="ctr" eaLnBrk="1" hangingPunct="1">
              <a:defRPr/>
            </a:pPr>
            <a:endParaRPr lang="ru-RU" altLang="ru-RU" sz="1400" smtClean="0">
              <a:solidFill>
                <a:srgbClr val="BFBFBF"/>
              </a:solidFill>
              <a:latin typeface="Arial" charset="0"/>
            </a:endParaRPr>
          </a:p>
        </p:txBody>
      </p:sp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163" y="33338"/>
            <a:ext cx="3775075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6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600" y="73025"/>
            <a:ext cx="3546475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682748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-15875" y="4710113"/>
            <a:ext cx="9159875" cy="519112"/>
          </a:xfrm>
          <a:prstGeom prst="rect">
            <a:avLst/>
          </a:prstGeom>
          <a:solidFill>
            <a:srgbClr val="002E6C"/>
          </a:solidFill>
          <a:ln>
            <a:noFill/>
          </a:ln>
          <a:extLst/>
        </p:spPr>
        <p:txBody>
          <a:bodyPr lIns="82809" tIns="43061" rIns="82809" bIns="43061" anchor="ctr">
            <a:spAutoFit/>
          </a:bodyPr>
          <a:lstStyle>
            <a:lvl1pPr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defTabSz="8731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ru-RU" altLang="ru-RU" sz="1400" smtClean="0">
              <a:solidFill>
                <a:srgbClr val="BFBFBF"/>
              </a:solidFill>
              <a:latin typeface="Arial" charset="0"/>
            </a:endParaRPr>
          </a:p>
          <a:p>
            <a:pPr algn="ctr" eaLnBrk="1" hangingPunct="1">
              <a:defRPr/>
            </a:pPr>
            <a:endParaRPr lang="ru-RU" altLang="ru-RU" sz="1400" smtClean="0">
              <a:solidFill>
                <a:srgbClr val="BFBFBF"/>
              </a:solidFill>
              <a:latin typeface="Arial" charset="0"/>
            </a:endParaRPr>
          </a:p>
        </p:txBody>
      </p:sp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163" y="33338"/>
            <a:ext cx="3775075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6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600" y="73025"/>
            <a:ext cx="3546475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57795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2E2A15-0D52-4032-8ADE-A076439DE3BD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C0F789-F36F-4A9E-AFD2-2D1C2EE8067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71038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93CED3-A687-467B-A23B-49A787D8C61E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40A5357-43F4-418C-B57A-CEAA735D30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373711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EF2714-8ED3-4675-B033-58735BDAE563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87A418-C3F4-4A8E-979E-05E2DC3DF31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92035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2A45C2-D285-4FC6-BA99-A6D66815C5AB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45302F5-EDA2-4E7D-A676-AFF95BE556C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599803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331BB-BF47-4D1F-9A17-BFFE3873E708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AED0D2-45B5-446F-954A-ECFF0E1CE15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835034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D41CF6-604E-45A4-A6D9-A92FA6953BC0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456F108-7CD7-4F9B-B00D-1C9BA02C016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612793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9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1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EED45-A009-4DFC-A179-800C9956E4FB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7457E7-DA41-4135-B9B1-70AFB3BEDF1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19133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80C59C-9961-40A9-9D18-D7A3728D43BB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1FE2DE-0D64-4129-8323-1D2DEADD071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8938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3C749F2-E298-436B-88B9-E9899629E18A}" type="datetime1">
              <a:rPr lang="ru-RU"/>
              <a:pPr>
                <a:defRPr/>
              </a:pPr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420F77EC-029A-4E2A-931D-1098268ED7B5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10400" y="4870450"/>
            <a:ext cx="2133600" cy="2730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208C549C-365A-49FF-9D9C-74B1771F06F4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7010400" y="4870450"/>
            <a:ext cx="2133600" cy="2730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785B72A9-96E9-4A29-86C7-36D4CE9EB961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travinaav@uralsib.ru" TargetMode="External"/><Relationship Id="rId2" Type="http://schemas.openxmlformats.org/officeDocument/2006/relationships/hyperlink" Target="mailto:demchevia@uralsib.ru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Shape 128"/>
          <p:cNvSpPr/>
          <p:nvPr/>
        </p:nvSpPr>
        <p:spPr>
          <a:xfrm>
            <a:off x="295275" y="4062413"/>
            <a:ext cx="2038350" cy="24447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0000"/>
              </a:lnSpc>
              <a:buSzPct val="25000"/>
            </a:pPr>
            <a:r>
              <a:rPr lang="ru-RU" altLang="ru-RU">
                <a:solidFill>
                  <a:srgbClr val="FFFFFF"/>
                </a:solidFill>
                <a:latin typeface="Circe" panose="020B0502020203020203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первый контакт</a:t>
            </a:r>
          </a:p>
        </p:txBody>
      </p:sp>
      <p:pic>
        <p:nvPicPr>
          <p:cNvPr id="7173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95486"/>
            <a:ext cx="2571750" cy="74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Прямоугольник 25"/>
          <p:cNvSpPr/>
          <p:nvPr>
            <p:custDataLst>
              <p:tags r:id="rId1"/>
            </p:custDataLst>
          </p:nvPr>
        </p:nvSpPr>
        <p:spPr>
          <a:xfrm>
            <a:off x="102655" y="1707654"/>
            <a:ext cx="8831263" cy="1657350"/>
          </a:xfrm>
          <a:prstGeom prst="rect">
            <a:avLst/>
          </a:prstGeom>
          <a:solidFill>
            <a:srgbClr val="FDFD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Ins="360000" bIns="180000" anchor="ctr"/>
          <a:lstStyle/>
          <a:p>
            <a:pPr algn="ctr">
              <a:defRPr/>
            </a:pPr>
            <a:r>
              <a:rPr lang="ru-RU" altLang="ru-RU" sz="2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не остаться за бортом СБП</a:t>
            </a:r>
          </a:p>
          <a:p>
            <a:pPr algn="ctr">
              <a:defRPr/>
            </a:pPr>
            <a:endParaRPr lang="ru-RU" altLang="ru-RU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ключение банков к Системе Быстрых Платежей по партнерской программе </a:t>
            </a:r>
            <a:endParaRPr lang="ru-RU" altLang="ru-RU" sz="14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О </a:t>
            </a: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АНК УРАЛСИБ» </a:t>
            </a:r>
            <a:endParaRPr lang="en-US" altLang="ru-RU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ru-RU" altLang="ru-RU" sz="28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6"/>
          <p:cNvSpPr>
            <a:spLocks noChangeArrowheads="1"/>
          </p:cNvSpPr>
          <p:nvPr/>
        </p:nvSpPr>
        <p:spPr bwMode="auto">
          <a:xfrm>
            <a:off x="102655" y="3775869"/>
            <a:ext cx="453579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lnSpc>
                <a:spcPct val="150000"/>
              </a:lnSpc>
              <a:defRPr/>
            </a:pP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Вице-президент, </a:t>
            </a:r>
          </a:p>
          <a:p>
            <a:pPr>
              <a:lnSpc>
                <a:spcPct val="150000"/>
              </a:lnSpc>
              <a:defRPr/>
            </a:pPr>
            <a:r>
              <a:rPr lang="ru-RU" altLang="ru-RU" sz="1200" b="1" dirty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Н</a:t>
            </a: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ачальник управления по работе с банками-партнерами</a:t>
            </a:r>
          </a:p>
          <a:p>
            <a:pPr>
              <a:lnSpc>
                <a:spcPct val="150000"/>
              </a:lnSpc>
              <a:defRPr/>
            </a:pP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Демчев Игорь Анатольевич </a:t>
            </a:r>
          </a:p>
        </p:txBody>
      </p:sp>
      <p:pic>
        <p:nvPicPr>
          <p:cNvPr id="30" name="Picture 3" descr="C:\Users\SavelievVV\Pictures\map_bg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2842546"/>
            <a:ext cx="2664345" cy="214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763713" y="331788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9525"/>
            <a:ext cx="9144000" cy="36513"/>
          </a:xfrm>
          <a:prstGeom prst="rect">
            <a:avLst/>
          </a:prstGeom>
          <a:solidFill>
            <a:srgbClr val="FCD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25" y="5126038"/>
            <a:ext cx="9144000" cy="34925"/>
          </a:xfrm>
          <a:prstGeom prst="rect">
            <a:avLst/>
          </a:prstGeom>
          <a:solidFill>
            <a:srgbClr val="60B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46888" y="4762500"/>
            <a:ext cx="2133600" cy="2730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2AA48C-669E-41EC-B466-79A56F483569}" type="slidenum">
              <a:rPr lang="ru-RU" altLang="ru-RU">
                <a:solidFill>
                  <a:srgbClr val="898989"/>
                </a:solidFill>
              </a:rPr>
              <a:pPr/>
              <a:t>10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7" name="Прямоугольник 2"/>
          <p:cNvSpPr>
            <a:spLocks noChangeArrowheads="1"/>
          </p:cNvSpPr>
          <p:nvPr/>
        </p:nvSpPr>
        <p:spPr bwMode="auto">
          <a:xfrm>
            <a:off x="4003767" y="-1"/>
            <a:ext cx="51132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2E6C"/>
                </a:solidFill>
                <a:latin typeface="Arial" pitchFamily="34" charset="0"/>
              </a:rPr>
              <a:t>Развитие функциональности мобильного приложения</a:t>
            </a:r>
          </a:p>
        </p:txBody>
      </p: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376129" y="576262"/>
            <a:ext cx="8353425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buFont typeface="Wingdings" pitchFamily="2" charset="2"/>
              <a:buChar char="Ø"/>
            </a:pPr>
            <a:r>
              <a:rPr lang="ru-RU" altLang="ru-RU" sz="1600" dirty="0">
                <a:solidFill>
                  <a:srgbClr val="002E6C"/>
                </a:solidFill>
                <a:latin typeface="Arial" pitchFamily="34" charset="0"/>
              </a:rPr>
              <a:t>С2В - оплата по </a:t>
            </a:r>
            <a:r>
              <a:rPr lang="en-US" altLang="ru-RU" sz="1600" dirty="0">
                <a:solidFill>
                  <a:srgbClr val="002E6C"/>
                </a:solidFill>
                <a:latin typeface="Arial" pitchFamily="34" charset="0"/>
              </a:rPr>
              <a:t>QR</a:t>
            </a:r>
            <a:r>
              <a:rPr lang="ru-RU" altLang="ru-RU" sz="1600" dirty="0">
                <a:solidFill>
                  <a:srgbClr val="002E6C"/>
                </a:solidFill>
                <a:latin typeface="Arial" pitchFamily="34" charset="0"/>
              </a:rPr>
              <a:t>-коду в торгово-сервисных предприятиях.</a:t>
            </a:r>
          </a:p>
          <a:p>
            <a:pPr eaLnBrk="1" hangingPunct="1">
              <a:lnSpc>
                <a:spcPct val="150000"/>
              </a:lnSpc>
              <a:buFont typeface="Wingdings" pitchFamily="2" charset="2"/>
              <a:buChar char="Ø"/>
            </a:pPr>
            <a:r>
              <a:rPr lang="ru-RU" altLang="ru-RU" sz="1600" dirty="0" smtClean="0">
                <a:solidFill>
                  <a:srgbClr val="002E6C"/>
                </a:solidFill>
                <a:latin typeface="Arial" pitchFamily="34" charset="0"/>
              </a:rPr>
              <a:t>Денежные переводы без открытия счета.</a:t>
            </a:r>
            <a:endParaRPr lang="ru-RU" altLang="ru-RU" sz="1600" dirty="0">
              <a:solidFill>
                <a:srgbClr val="002E6C"/>
              </a:solidFill>
              <a:latin typeface="Arial" pitchFamily="34" charset="0"/>
            </a:endParaRPr>
          </a:p>
          <a:p>
            <a:pPr eaLnBrk="1" hangingPunct="1">
              <a:lnSpc>
                <a:spcPct val="150000"/>
              </a:lnSpc>
              <a:buFont typeface="Wingdings" pitchFamily="2" charset="2"/>
              <a:buChar char="Ø"/>
            </a:pPr>
            <a:r>
              <a:rPr lang="ru-RU" altLang="ru-RU" sz="1600" dirty="0">
                <a:solidFill>
                  <a:srgbClr val="002E6C"/>
                </a:solidFill>
                <a:latin typeface="Arial" pitchFamily="34" charset="0"/>
              </a:rPr>
              <a:t>Платежи Сити+* с возможностью разделения комиссии с банком-партнером. Настройка  автоплатежей.</a:t>
            </a:r>
          </a:p>
          <a:p>
            <a:pPr eaLnBrk="1" hangingPunct="1">
              <a:lnSpc>
                <a:spcPct val="150000"/>
              </a:lnSpc>
              <a:buFont typeface="Wingdings" pitchFamily="2" charset="2"/>
              <a:buChar char="Ø"/>
            </a:pPr>
            <a:r>
              <a:rPr lang="ru-RU" altLang="ru-RU" sz="1600" dirty="0" smtClean="0">
                <a:solidFill>
                  <a:srgbClr val="002E6C"/>
                </a:solidFill>
                <a:latin typeface="Arial" pitchFamily="34" charset="0"/>
              </a:rPr>
              <a:t>Переводы </a:t>
            </a:r>
            <a:r>
              <a:rPr lang="ru-RU" altLang="ru-RU" sz="1600" dirty="0">
                <a:solidFill>
                  <a:srgbClr val="002E6C"/>
                </a:solidFill>
                <a:latin typeface="Arial" pitchFamily="34" charset="0"/>
              </a:rPr>
              <a:t>с карты на </a:t>
            </a:r>
            <a:r>
              <a:rPr lang="ru-RU" altLang="ru-RU" sz="1600" dirty="0" smtClean="0">
                <a:solidFill>
                  <a:srgbClr val="002E6C"/>
                </a:solidFill>
                <a:latin typeface="Arial" pitchFamily="34" charset="0"/>
              </a:rPr>
              <a:t>карту (Р2Р) + международные операции.</a:t>
            </a:r>
          </a:p>
          <a:p>
            <a:pPr eaLnBrk="1" hangingPunct="1">
              <a:lnSpc>
                <a:spcPct val="150000"/>
              </a:lnSpc>
              <a:buFont typeface="Wingdings" pitchFamily="2" charset="2"/>
              <a:buChar char="Ø"/>
            </a:pPr>
            <a:r>
              <a:rPr lang="ru-RU" altLang="ru-RU" sz="1600" dirty="0" smtClean="0">
                <a:solidFill>
                  <a:srgbClr val="002E6C"/>
                </a:solidFill>
                <a:latin typeface="Arial" pitchFamily="34" charset="0"/>
              </a:rPr>
              <a:t>Партнерские продажи.</a:t>
            </a:r>
            <a:endParaRPr lang="ru-RU" altLang="ru-RU" sz="1600" dirty="0">
              <a:solidFill>
                <a:srgbClr val="002E6C"/>
              </a:solidFill>
              <a:latin typeface="Arial" pitchFamily="34" charset="0"/>
            </a:endParaRPr>
          </a:p>
          <a:p>
            <a:pPr eaLnBrk="1" hangingPunct="1">
              <a:lnSpc>
                <a:spcPct val="150000"/>
              </a:lnSpc>
              <a:buFont typeface="Wingdings" pitchFamily="2" charset="2"/>
              <a:buChar char="Ø"/>
            </a:pPr>
            <a:r>
              <a:rPr lang="ru-RU" altLang="ru-RU" sz="1600" dirty="0" smtClean="0">
                <a:solidFill>
                  <a:srgbClr val="002E6C"/>
                </a:solidFill>
                <a:latin typeface="Arial" pitchFamily="34" charset="0"/>
              </a:rPr>
              <a:t>Разработка </a:t>
            </a:r>
            <a:r>
              <a:rPr lang="ru-RU" altLang="ru-RU" sz="1600" dirty="0">
                <a:solidFill>
                  <a:srgbClr val="002E6C"/>
                </a:solidFill>
                <a:latin typeface="Arial" pitchFamily="34" charset="0"/>
              </a:rPr>
              <a:t>брендированной банком версии мобильного </a:t>
            </a:r>
            <a:r>
              <a:rPr lang="ru-RU" altLang="ru-RU" sz="1600" dirty="0" smtClean="0">
                <a:solidFill>
                  <a:srgbClr val="002E6C"/>
                </a:solidFill>
                <a:latin typeface="Arial" pitchFamily="34" charset="0"/>
              </a:rPr>
              <a:t>приложения</a:t>
            </a:r>
            <a:r>
              <a:rPr lang="en-US" altLang="ru-RU" sz="1600" dirty="0">
                <a:solidFill>
                  <a:srgbClr val="002E6C"/>
                </a:solidFill>
                <a:latin typeface="Arial" pitchFamily="34" charset="0"/>
              </a:rPr>
              <a:t>.</a:t>
            </a:r>
            <a:endParaRPr lang="ru-RU" altLang="ru-RU" sz="1600" dirty="0">
              <a:solidFill>
                <a:srgbClr val="002E6C"/>
              </a:solidFill>
              <a:latin typeface="Arial" pitchFamily="34" charset="0"/>
            </a:endParaRPr>
          </a:p>
        </p:txBody>
      </p:sp>
      <p:sp>
        <p:nvSpPr>
          <p:cNvPr id="9" name="TextBox 2"/>
          <p:cNvSpPr txBox="1">
            <a:spLocks noChangeArrowheads="1"/>
          </p:cNvSpPr>
          <p:nvPr/>
        </p:nvSpPr>
        <p:spPr bwMode="auto">
          <a:xfrm>
            <a:off x="1749749" y="3808193"/>
            <a:ext cx="521245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b="1" dirty="0">
                <a:solidFill>
                  <a:srgbClr val="C00000"/>
                </a:solidFill>
                <a:latin typeface="Arial" pitchFamily="34" charset="0"/>
              </a:rPr>
              <a:t>Что то еще забыли? </a:t>
            </a:r>
            <a:r>
              <a:rPr lang="ru-RU" altLang="ru-RU" b="1" dirty="0" smtClean="0">
                <a:solidFill>
                  <a:srgbClr val="C00000"/>
                </a:solidFill>
                <a:latin typeface="Arial" pitchFamily="34" charset="0"/>
              </a:rPr>
              <a:t>Предлагайте, сделаем!</a:t>
            </a:r>
            <a:endParaRPr lang="ru-RU" altLang="ru-RU" b="1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0" name="TextBox 2"/>
          <p:cNvSpPr txBox="1">
            <a:spLocks noChangeArrowheads="1"/>
          </p:cNvSpPr>
          <p:nvPr/>
        </p:nvSpPr>
        <p:spPr bwMode="auto">
          <a:xfrm>
            <a:off x="179512" y="4582457"/>
            <a:ext cx="83529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200" dirty="0">
                <a:solidFill>
                  <a:schemeClr val="tx2"/>
                </a:solidFill>
                <a:latin typeface="Arial" pitchFamily="34" charset="0"/>
              </a:rPr>
              <a:t>* - Сити+ система агрегации платежей ПАО «БАНК УРАЛСИБ», включает в себя более 15 тыс. поставщиков услуг</a:t>
            </a:r>
          </a:p>
        </p:txBody>
      </p:sp>
    </p:spTree>
    <p:extLst>
      <p:ext uri="{BB962C8B-B14F-4D97-AF65-F5344CB8AC3E}">
        <p14:creationId xmlns:p14="http://schemas.microsoft.com/office/powerpoint/2010/main" val="344328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F789-F36F-4A9E-AFD2-2D1C2EE80675}" type="slidenum">
              <a:rPr lang="ru-RU" altLang="ru-RU" smtClean="0"/>
              <a:pPr/>
              <a:t>11</a:t>
            </a:fld>
            <a:endParaRPr lang="ru-RU" altLang="ru-RU"/>
          </a:p>
        </p:txBody>
      </p:sp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1642851" y="1131590"/>
            <a:ext cx="6138732" cy="2585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3600" dirty="0">
                <a:solidFill>
                  <a:srgbClr val="002E6C"/>
                </a:solidFill>
                <a:latin typeface="Arial" pitchFamily="34" charset="0"/>
              </a:rPr>
              <a:t>СПАСИБО ЗА ВНИМАНИЕ!</a:t>
            </a:r>
          </a:p>
          <a:p>
            <a:pPr eaLnBrk="1" hangingPunct="1"/>
            <a:endParaRPr lang="ru-RU" altLang="ru-RU" sz="900" dirty="0" smtClean="0">
              <a:solidFill>
                <a:srgbClr val="002E6C"/>
              </a:solidFill>
              <a:latin typeface="Arial" pitchFamily="34" charset="0"/>
            </a:endParaRPr>
          </a:p>
          <a:p>
            <a:pPr eaLnBrk="1" hangingPunct="1"/>
            <a:r>
              <a:rPr lang="ru-RU" altLang="ru-RU" dirty="0" smtClean="0">
                <a:solidFill>
                  <a:srgbClr val="002E6C"/>
                </a:solidFill>
                <a:latin typeface="Arial" pitchFamily="34" charset="0"/>
              </a:rPr>
              <a:t>Контакты:</a:t>
            </a:r>
          </a:p>
          <a:p>
            <a:pPr eaLnBrk="1" hangingPunct="1"/>
            <a:endParaRPr lang="ru-RU" altLang="ru-RU" sz="900" dirty="0" smtClean="0">
              <a:solidFill>
                <a:srgbClr val="002E6C"/>
              </a:solidFill>
              <a:latin typeface="Arial" pitchFamily="34" charset="0"/>
            </a:endParaRPr>
          </a:p>
          <a:p>
            <a:pPr eaLnBrk="1" hangingPunct="1"/>
            <a:r>
              <a:rPr lang="ru-RU" altLang="ru-RU" dirty="0" smtClean="0">
                <a:solidFill>
                  <a:srgbClr val="002E6C"/>
                </a:solidFill>
                <a:latin typeface="Arial" pitchFamily="34" charset="0"/>
              </a:rPr>
              <a:t>Демчев Игорь</a:t>
            </a:r>
            <a:r>
              <a:rPr lang="ru-RU" altLang="ru-RU" dirty="0" smtClean="0">
                <a:solidFill>
                  <a:srgbClr val="002E6C"/>
                </a:solidFill>
                <a:latin typeface="Arial" pitchFamily="34" charset="0"/>
              </a:rPr>
              <a:t> </a:t>
            </a:r>
            <a:r>
              <a:rPr lang="en-US" altLang="ru-RU" dirty="0" smtClean="0">
                <a:latin typeface="Arial" pitchFamily="34" charset="0"/>
                <a:hlinkClick r:id="rId2"/>
              </a:rPr>
              <a:t>demchevia@uralsib.ru</a:t>
            </a:r>
            <a:endParaRPr lang="en-US" altLang="ru-RU" dirty="0" smtClean="0">
              <a:latin typeface="Arial" pitchFamily="34" charset="0"/>
            </a:endParaRPr>
          </a:p>
          <a:p>
            <a:pPr eaLnBrk="1" hangingPunct="1"/>
            <a:r>
              <a:rPr lang="ru-RU" altLang="ru-RU" dirty="0" smtClean="0">
                <a:solidFill>
                  <a:srgbClr val="002E6C"/>
                </a:solidFill>
                <a:latin typeface="Arial" pitchFamily="34" charset="0"/>
              </a:rPr>
              <a:t>+</a:t>
            </a:r>
            <a:r>
              <a:rPr lang="ru-RU" altLang="ru-RU" dirty="0" smtClean="0">
                <a:solidFill>
                  <a:srgbClr val="002E6C"/>
                </a:solidFill>
                <a:latin typeface="Arial" pitchFamily="34" charset="0"/>
              </a:rPr>
              <a:t>7 (903) </a:t>
            </a:r>
            <a:r>
              <a:rPr lang="ru-RU" altLang="ru-RU" dirty="0" smtClean="0">
                <a:solidFill>
                  <a:srgbClr val="002E6C"/>
                </a:solidFill>
                <a:latin typeface="Arial" pitchFamily="34" charset="0"/>
              </a:rPr>
              <a:t>510-4161</a:t>
            </a:r>
          </a:p>
          <a:p>
            <a:pPr eaLnBrk="1" hangingPunct="1"/>
            <a:endParaRPr lang="ru-RU" altLang="ru-RU" dirty="0">
              <a:solidFill>
                <a:srgbClr val="002E6C"/>
              </a:solidFill>
              <a:latin typeface="Arial" pitchFamily="34" charset="0"/>
            </a:endParaRPr>
          </a:p>
          <a:p>
            <a:pPr eaLnBrk="1" hangingPunct="1"/>
            <a:r>
              <a:rPr lang="ru-RU" altLang="ru-RU" dirty="0" smtClean="0">
                <a:solidFill>
                  <a:srgbClr val="002E6C"/>
                </a:solidFill>
                <a:latin typeface="Arial" pitchFamily="34" charset="0"/>
              </a:rPr>
              <a:t>Травина Анна </a:t>
            </a:r>
            <a:r>
              <a:rPr lang="en-US" altLang="ru-RU" u="sng" dirty="0" smtClean="0">
                <a:latin typeface="Arial" panose="020B0604020202020204" pitchFamily="34" charset="0"/>
                <a:hlinkClick r:id="rId3"/>
              </a:rPr>
              <a:t>t</a:t>
            </a:r>
            <a:r>
              <a:rPr lang="en-US" u="sng" dirty="0" smtClean="0">
                <a:latin typeface="Arial" panose="020B0604020202020204" pitchFamily="34" charset="0"/>
                <a:hlinkClick r:id="rId3"/>
              </a:rPr>
              <a:t>ravinaav@uralsib.ru</a:t>
            </a:r>
            <a:endParaRPr lang="ru-RU" u="sng" dirty="0" smtClean="0">
              <a:latin typeface="Arial" panose="020B0604020202020204" pitchFamily="34" charset="0"/>
            </a:endParaRPr>
          </a:p>
          <a:p>
            <a:pPr eaLnBrk="1" hangingPunct="1"/>
            <a:r>
              <a:rPr lang="ru-RU" altLang="ru-RU" dirty="0" smtClean="0">
                <a:solidFill>
                  <a:srgbClr val="002E6C"/>
                </a:solidFill>
                <a:latin typeface="Arial" panose="020B0604020202020204" pitchFamily="34" charset="0"/>
              </a:rPr>
              <a:t>+7 (916) 654-5478</a:t>
            </a:r>
            <a:endParaRPr lang="ru-RU" altLang="ru-RU" dirty="0">
              <a:solidFill>
                <a:srgbClr val="002E6C"/>
              </a:solidFill>
              <a:latin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547664" y="411510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6257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763713" y="331788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9525"/>
            <a:ext cx="9144000" cy="36513"/>
          </a:xfrm>
          <a:prstGeom prst="rect">
            <a:avLst/>
          </a:prstGeom>
          <a:solidFill>
            <a:srgbClr val="FCD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25" y="5126038"/>
            <a:ext cx="9144000" cy="34925"/>
          </a:xfrm>
          <a:prstGeom prst="rect">
            <a:avLst/>
          </a:prstGeom>
          <a:solidFill>
            <a:srgbClr val="60B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46888" y="4762500"/>
            <a:ext cx="2133600" cy="2730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2AA48C-669E-41EC-B466-79A56F483569}" type="slidenum">
              <a:rPr lang="ru-RU" altLang="ru-RU">
                <a:solidFill>
                  <a:srgbClr val="898989"/>
                </a:solidFill>
              </a:rPr>
              <a:pPr/>
              <a:t>2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14" name="Прямоугольник 44"/>
          <p:cNvSpPr>
            <a:spLocks noChangeArrowheads="1"/>
          </p:cNvSpPr>
          <p:nvPr/>
        </p:nvSpPr>
        <p:spPr bwMode="auto">
          <a:xfrm>
            <a:off x="4529120" y="1515"/>
            <a:ext cx="461488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2E6C"/>
                </a:solidFill>
                <a:latin typeface="Arial" pitchFamily="34" charset="0"/>
              </a:rPr>
              <a:t>Партнерская программа ПАО «БАНК УРАЛСИБ»</a:t>
            </a:r>
          </a:p>
        </p:txBody>
      </p:sp>
      <p:pic>
        <p:nvPicPr>
          <p:cNvPr id="16" name="Рисунок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7" t="38507" r="56812" b="32854"/>
          <a:stretch>
            <a:fillRect/>
          </a:stretch>
        </p:blipFill>
        <p:spPr bwMode="auto">
          <a:xfrm>
            <a:off x="417768" y="580425"/>
            <a:ext cx="1388305" cy="1260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4"/>
          <p:cNvSpPr>
            <a:spLocks noChangeArrowheads="1"/>
          </p:cNvSpPr>
          <p:nvPr/>
        </p:nvSpPr>
        <p:spPr bwMode="auto">
          <a:xfrm>
            <a:off x="1966119" y="699542"/>
            <a:ext cx="6926361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ru-RU" altLang="ru-RU" sz="1400" b="1" dirty="0">
                <a:solidFill>
                  <a:srgbClr val="002E6C"/>
                </a:solidFill>
                <a:latin typeface="Arial" pitchFamily="34" charset="0"/>
              </a:rPr>
              <a:t>ПАО «БАНК УРАЛСИБ»  </a:t>
            </a:r>
            <a:r>
              <a:rPr lang="ru-RU" altLang="ru-RU" sz="1400" dirty="0">
                <a:solidFill>
                  <a:srgbClr val="002E6C"/>
                </a:solidFill>
                <a:latin typeface="Arial" pitchFamily="34" charset="0"/>
              </a:rPr>
              <a:t>занимает ведущие позиции на российском рынке среди финансовых организаций, оказывающих процессинговые услуги и спонсорскую поддержку для банков-партнеров при взаимодействии с платежными системами Мир, </a:t>
            </a:r>
            <a:r>
              <a:rPr lang="en-US" altLang="ru-RU" sz="1400" dirty="0">
                <a:solidFill>
                  <a:srgbClr val="002E6C"/>
                </a:solidFill>
                <a:latin typeface="Arial" pitchFamily="34" charset="0"/>
              </a:rPr>
              <a:t>VISA</a:t>
            </a:r>
            <a:r>
              <a:rPr lang="ru-RU" altLang="ru-RU" sz="1400" dirty="0">
                <a:solidFill>
                  <a:srgbClr val="002E6C"/>
                </a:solidFill>
                <a:latin typeface="Arial" pitchFamily="34" charset="0"/>
              </a:rPr>
              <a:t>, </a:t>
            </a:r>
            <a:r>
              <a:rPr lang="en-US" altLang="ru-RU" sz="1400" dirty="0">
                <a:solidFill>
                  <a:srgbClr val="002E6C"/>
                </a:solidFill>
                <a:latin typeface="Arial" pitchFamily="34" charset="0"/>
              </a:rPr>
              <a:t>Master</a:t>
            </a:r>
            <a:r>
              <a:rPr lang="ru-RU" altLang="ru-RU" sz="1400" dirty="0">
                <a:solidFill>
                  <a:srgbClr val="002E6C"/>
                </a:solidFill>
                <a:latin typeface="Arial" pitchFamily="34" charset="0"/>
              </a:rPr>
              <a:t>с</a:t>
            </a:r>
            <a:r>
              <a:rPr lang="en-US" altLang="ru-RU" sz="1400" dirty="0" err="1">
                <a:solidFill>
                  <a:srgbClr val="002E6C"/>
                </a:solidFill>
                <a:latin typeface="Arial" pitchFamily="34" charset="0"/>
              </a:rPr>
              <a:t>ard</a:t>
            </a:r>
            <a:r>
              <a:rPr lang="ru-RU" altLang="ru-RU" sz="1400" dirty="0">
                <a:solidFill>
                  <a:srgbClr val="002E6C"/>
                </a:solidFill>
                <a:latin typeface="Arial" pitchFamily="34" charset="0"/>
              </a:rPr>
              <a:t>, </a:t>
            </a:r>
            <a:r>
              <a:rPr lang="en-US" altLang="ru-RU" sz="1400" dirty="0">
                <a:solidFill>
                  <a:srgbClr val="002E6C"/>
                </a:solidFill>
                <a:latin typeface="Arial" pitchFamily="34" charset="0"/>
              </a:rPr>
              <a:t>UPI</a:t>
            </a:r>
            <a:r>
              <a:rPr lang="ru-RU" altLang="ru-RU" sz="1400" dirty="0">
                <a:solidFill>
                  <a:srgbClr val="002E6C"/>
                </a:solidFill>
                <a:latin typeface="Arial" pitchFamily="34" charset="0"/>
              </a:rPr>
              <a:t>. 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05606" y="2005008"/>
            <a:ext cx="8486874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5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2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 - общее число банков-партнеров, резидентов РФ, обслуживающихся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в ПАО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«БАНК УРАЛСИБ».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22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 имеют универсальную лицензию, что обязывает их стать участниками СБП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C00000"/>
                </a:solidFill>
                <a:latin typeface="Arial" panose="020B0604020202020204" pitchFamily="34" charset="0"/>
              </a:rPr>
              <a:t>до </a:t>
            </a:r>
            <a:r>
              <a:rPr lang="ru-RU" sz="1400" dirty="0">
                <a:solidFill>
                  <a:srgbClr val="C00000"/>
                </a:solidFill>
                <a:latin typeface="Arial" panose="020B0604020202020204" pitchFamily="34" charset="0"/>
              </a:rPr>
              <a:t>1 октября 2020 </a:t>
            </a:r>
            <a:r>
              <a:rPr lang="ru-RU" sz="1400" dirty="0" smtClean="0">
                <a:solidFill>
                  <a:srgbClr val="C00000"/>
                </a:solidFill>
                <a:latin typeface="Arial" panose="020B0604020202020204" pitchFamily="34" charset="0"/>
              </a:rPr>
              <a:t>г.</a:t>
            </a:r>
            <a:endParaRPr lang="ru-RU" sz="1400" dirty="0">
              <a:solidFill>
                <a:srgbClr val="C00000"/>
              </a:solidFill>
              <a:latin typeface="Arial" panose="020B0604020202020204" pitchFamily="34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30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 банков-партнеров обслуживается на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In-house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 процессинге ПАО «БАНК УРАЛСИБ». </a:t>
            </a:r>
            <a:endParaRPr lang="ru-RU" sz="14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Также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ПАО «БАНК УРАЛСИБ» оказывает расчетные и спонсорские услуги банкам на собственных и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третьесторонних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 процессингах.</a:t>
            </a:r>
          </a:p>
          <a:p>
            <a:pPr algn="just">
              <a:defRPr/>
            </a:pP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just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ПАО «БАНК УРАЛСИБ» предлагает обеспечить для своих банков-партнеров, а также сторонних банков, сервис технологического подключения к СБП на конкурентоспособных рынку условиях.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763713" y="331788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9525"/>
            <a:ext cx="9144000" cy="36513"/>
          </a:xfrm>
          <a:prstGeom prst="rect">
            <a:avLst/>
          </a:prstGeom>
          <a:solidFill>
            <a:srgbClr val="FCD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25" y="5126038"/>
            <a:ext cx="9144000" cy="34925"/>
          </a:xfrm>
          <a:prstGeom prst="rect">
            <a:avLst/>
          </a:prstGeom>
          <a:solidFill>
            <a:srgbClr val="60B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46888" y="4762500"/>
            <a:ext cx="2133600" cy="2730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2AA48C-669E-41EC-B466-79A56F483569}" type="slidenum">
              <a:rPr lang="ru-RU" altLang="ru-RU">
                <a:solidFill>
                  <a:srgbClr val="898989"/>
                </a:solidFill>
              </a:rPr>
              <a:pPr/>
              <a:t>3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7" name="Прямоугольник 44"/>
          <p:cNvSpPr>
            <a:spLocks noChangeArrowheads="1"/>
          </p:cNvSpPr>
          <p:nvPr/>
        </p:nvSpPr>
        <p:spPr bwMode="auto">
          <a:xfrm>
            <a:off x="3855261" y="13309"/>
            <a:ext cx="52552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2E6C"/>
                </a:solidFill>
                <a:latin typeface="Arial" pitchFamily="34" charset="0"/>
              </a:rPr>
              <a:t>Проблемы подключения к СПБ, предпосылки проекта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27584" y="547915"/>
            <a:ext cx="7920037" cy="4078039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</a:rPr>
              <a:t>Высокая стоимость программного решения и 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</a:rPr>
              <a:t>on-line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</a:rPr>
              <a:t> интеграции учетной системы банка и ДБО у поставщиков решений.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</a:rPr>
              <a:t>Ресурсоемкость и длительные сроки работ.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</a:rPr>
              <a:t>Отсутствие компетенций в данной прикладной области и необходимых ресурсов для их получения у небольших банков.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</a:rPr>
              <a:t>Высокие требования к аппаратной и коммуникационной части как для 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</a:rPr>
              <a:t>OLTP 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</a:rPr>
              <a:t>(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</a:rPr>
              <a:t>On-line Transaction Processing) 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</a:rPr>
              <a:t>решений.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</a:rPr>
              <a:t>Поддержка взаимодействия программных комплексов в режиме 24/7.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</a:rPr>
              <a:t>Отсутствие дополнительного дохода от реализации.</a:t>
            </a:r>
          </a:p>
          <a:p>
            <a:pPr algn="just">
              <a:defRPr/>
            </a:pPr>
            <a:endParaRPr lang="ru-RU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just">
              <a:defRPr/>
            </a:pPr>
            <a:endParaRPr lang="ru-RU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just">
              <a:defRPr/>
            </a:pPr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</a:rPr>
              <a:t>Вышеперечисленное является предпосылками для предложения на рынок недорогого, технически простого и быстрореализуемого решения для подключения к СБП и выполнения требований законодательства в срок.</a:t>
            </a:r>
            <a:endParaRPr lang="ru-RU" sz="1400" dirty="0">
              <a:solidFill>
                <a:srgbClr val="C00000"/>
              </a:solidFill>
              <a:cs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6438" y="3723878"/>
            <a:ext cx="441146" cy="1015663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60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cs typeface="Arial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4328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763713" y="331788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9525"/>
            <a:ext cx="9144000" cy="36513"/>
          </a:xfrm>
          <a:prstGeom prst="rect">
            <a:avLst/>
          </a:prstGeom>
          <a:solidFill>
            <a:srgbClr val="FCD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25" y="5126038"/>
            <a:ext cx="9144000" cy="34925"/>
          </a:xfrm>
          <a:prstGeom prst="rect">
            <a:avLst/>
          </a:prstGeom>
          <a:solidFill>
            <a:srgbClr val="60B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46888" y="4762500"/>
            <a:ext cx="2133600" cy="2730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2AA48C-669E-41EC-B466-79A56F483569}" type="slidenum">
              <a:rPr lang="ru-RU" altLang="ru-RU">
                <a:solidFill>
                  <a:srgbClr val="898989"/>
                </a:solidFill>
              </a:rPr>
              <a:pPr/>
              <a:t>4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7" name="Прямоугольник 44"/>
          <p:cNvSpPr>
            <a:spLocks noChangeArrowheads="1"/>
          </p:cNvSpPr>
          <p:nvPr/>
        </p:nvSpPr>
        <p:spPr bwMode="auto">
          <a:xfrm>
            <a:off x="3472734" y="24011"/>
            <a:ext cx="567126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2E6C"/>
                </a:solidFill>
                <a:latin typeface="Arial" pitchFamily="34" charset="0"/>
              </a:rPr>
              <a:t>Стоимость подключения к СПБ через поставщиков решений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974255"/>
              </p:ext>
            </p:extLst>
          </p:nvPr>
        </p:nvGraphicFramePr>
        <p:xfrm>
          <a:off x="714629" y="539468"/>
          <a:ext cx="7680325" cy="4103392"/>
        </p:xfrm>
        <a:graphic>
          <a:graphicData uri="http://schemas.openxmlformats.org/drawingml/2006/table">
            <a:tbl>
              <a:tblPr/>
              <a:tblGrid>
                <a:gridCol w="1895475"/>
                <a:gridCol w="1873250"/>
                <a:gridCol w="2016125"/>
                <a:gridCol w="1895475"/>
              </a:tblGrid>
              <a:tr h="53378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 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092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тоимость подключения в расчете на год 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ставщик 1: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,</a:t>
                      </a:r>
                      <a:r>
                        <a:rPr kumimoji="0" lang="en-US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</a:t>
                      </a: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млн. руб.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ставщик 2: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6,8 млн. руб.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ставщик 3: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6,7 млн. руб.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</a:tr>
              <a:tr h="79554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ополнительные работы по интеграции на стороне банка</a:t>
                      </a:r>
                      <a:endParaRPr kumimoji="0" lang="ru-RU" alt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1F497D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97D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97D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0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купка оборудования на стороне банка </a:t>
                      </a:r>
                      <a:endParaRPr kumimoji="0" lang="ru-RU" alt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-</a:t>
                      </a:r>
                      <a:endParaRPr kumimoji="0" lang="ru-RU" altLang="ru-RU" sz="3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1F497D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1F497D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867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рганизация инфраструктуры 24/7 на стороне банка </a:t>
                      </a:r>
                      <a:endParaRPr kumimoji="0" lang="ru-RU" alt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-</a:t>
                      </a:r>
                      <a:endParaRPr kumimoji="0" lang="ru-RU" altLang="ru-RU" sz="3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1F497D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97D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092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ысокий </a:t>
                      </a:r>
                      <a:r>
                        <a:rPr kumimoji="0" lang="ru-RU" alt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транзакционный</a:t>
                      </a: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Arial" charset="0"/>
                          <a:cs typeface="Arial" charset="0"/>
                        </a:rPr>
                        <a:t> тариф</a:t>
                      </a:r>
                      <a:endParaRPr kumimoji="0" lang="ru-RU" alt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97D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-</a:t>
                      </a:r>
                      <a:endParaRPr kumimoji="0" lang="ru-RU" altLang="ru-RU" sz="3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-</a:t>
                      </a:r>
                      <a:endParaRPr kumimoji="0" lang="ru-RU" altLang="ru-RU" sz="3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915" marR="629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0" name="Picture 45" descr="Related image"/>
          <p:cNvPicPr/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3664" y="486804"/>
            <a:ext cx="598487" cy="581025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11" name="Picture 8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9803" y="3485381"/>
            <a:ext cx="3905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103" y="3479561"/>
            <a:ext cx="3905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946" y="2669282"/>
            <a:ext cx="3905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103" y="2700319"/>
            <a:ext cx="3905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9803" y="1963973"/>
            <a:ext cx="3905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103" y="1963973"/>
            <a:ext cx="3905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4731" y="4083918"/>
            <a:ext cx="3905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4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4731" y="1963973"/>
            <a:ext cx="3905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3"/>
          <p:cNvSpPr txBox="1">
            <a:spLocks noChangeArrowheads="1"/>
          </p:cNvSpPr>
          <p:nvPr/>
        </p:nvSpPr>
        <p:spPr bwMode="auto">
          <a:xfrm>
            <a:off x="2750492" y="546483"/>
            <a:ext cx="163929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ru-RU" sz="1200" b="1" dirty="0">
                <a:solidFill>
                  <a:schemeClr val="tx2"/>
                </a:solidFill>
                <a:latin typeface="Arial" pitchFamily="34" charset="0"/>
              </a:rPr>
              <a:t>Outsourcing</a:t>
            </a:r>
            <a:r>
              <a:rPr lang="ru-RU" altLang="ru-RU" sz="1200" b="1" dirty="0">
                <a:solidFill>
                  <a:schemeClr val="tx2"/>
                </a:solidFill>
                <a:latin typeface="Arial" pitchFamily="34" charset="0"/>
              </a:rPr>
              <a:t>,</a:t>
            </a:r>
          </a:p>
          <a:p>
            <a:pPr algn="ctr" eaLnBrk="1" hangingPunct="1"/>
            <a:r>
              <a:rPr lang="ru-RU" altLang="ru-RU" sz="1200" b="1" dirty="0">
                <a:solidFill>
                  <a:schemeClr val="tx2"/>
                </a:solidFill>
                <a:latin typeface="Arial" pitchFamily="34" charset="0"/>
              </a:rPr>
              <a:t>Сервисная модель</a:t>
            </a:r>
          </a:p>
        </p:txBody>
      </p:sp>
      <p:sp>
        <p:nvSpPr>
          <p:cNvPr id="22" name="TextBox 20"/>
          <p:cNvSpPr txBox="1">
            <a:spLocks noChangeArrowheads="1"/>
          </p:cNvSpPr>
          <p:nvPr/>
        </p:nvSpPr>
        <p:spPr bwMode="auto">
          <a:xfrm>
            <a:off x="4690620" y="638816"/>
            <a:ext cx="153599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ru-RU" sz="1200" b="1" dirty="0">
                <a:solidFill>
                  <a:schemeClr val="tx2"/>
                </a:solidFill>
                <a:latin typeface="Arial" pitchFamily="34" charset="0"/>
              </a:rPr>
              <a:t>In-house</a:t>
            </a:r>
            <a:r>
              <a:rPr lang="ru-RU" altLang="ru-RU" sz="1200" b="1" dirty="0">
                <a:solidFill>
                  <a:schemeClr val="tx2"/>
                </a:solidFill>
                <a:latin typeface="Arial" pitchFamily="34" charset="0"/>
              </a:rPr>
              <a:t> решение</a:t>
            </a:r>
          </a:p>
        </p:txBody>
      </p:sp>
      <p:sp>
        <p:nvSpPr>
          <p:cNvPr id="23" name="TextBox 21"/>
          <p:cNvSpPr txBox="1">
            <a:spLocks noChangeArrowheads="1"/>
          </p:cNvSpPr>
          <p:nvPr/>
        </p:nvSpPr>
        <p:spPr bwMode="auto">
          <a:xfrm>
            <a:off x="6559221" y="582681"/>
            <a:ext cx="17116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chemeClr val="tx2"/>
                </a:solidFill>
                <a:latin typeface="Arial" pitchFamily="34" charset="0"/>
              </a:rPr>
              <a:t>Конвертер формата</a:t>
            </a:r>
          </a:p>
          <a:p>
            <a:pPr algn="ctr" eaLnBrk="1" hangingPunct="1"/>
            <a:r>
              <a:rPr lang="en-US" altLang="ru-RU" sz="1200" b="1" dirty="0">
                <a:solidFill>
                  <a:srgbClr val="1F497D"/>
                </a:solidFill>
                <a:latin typeface="Arial" pitchFamily="34" charset="0"/>
              </a:rPr>
              <a:t>ISO</a:t>
            </a:r>
            <a:r>
              <a:rPr lang="ru-RU" altLang="ru-RU" sz="1200" b="1" dirty="0">
                <a:solidFill>
                  <a:srgbClr val="1F497D"/>
                </a:solidFill>
                <a:latin typeface="Arial" pitchFamily="34" charset="0"/>
              </a:rPr>
              <a:t>-20022</a:t>
            </a:r>
            <a:endParaRPr lang="ru-RU" altLang="ru-RU" sz="1200" b="1" dirty="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69105" y="1563638"/>
            <a:ext cx="441146" cy="1015663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60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cs typeface="Arial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4328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763713" y="331788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9525"/>
            <a:ext cx="9144000" cy="36513"/>
          </a:xfrm>
          <a:prstGeom prst="rect">
            <a:avLst/>
          </a:prstGeom>
          <a:solidFill>
            <a:srgbClr val="FCD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25" y="5126038"/>
            <a:ext cx="9144000" cy="34925"/>
          </a:xfrm>
          <a:prstGeom prst="rect">
            <a:avLst/>
          </a:prstGeom>
          <a:solidFill>
            <a:srgbClr val="60B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46888" y="4762500"/>
            <a:ext cx="2133600" cy="2730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2AA48C-669E-41EC-B466-79A56F483569}" type="slidenum">
              <a:rPr lang="ru-RU" altLang="ru-RU">
                <a:solidFill>
                  <a:srgbClr val="898989"/>
                </a:solidFill>
              </a:rPr>
              <a:pPr/>
              <a:t>5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7" name="Прямоугольник 44"/>
          <p:cNvSpPr>
            <a:spLocks noChangeArrowheads="1"/>
          </p:cNvSpPr>
          <p:nvPr/>
        </p:nvSpPr>
        <p:spPr bwMode="auto">
          <a:xfrm>
            <a:off x="4139951" y="-1"/>
            <a:ext cx="49035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2E6C"/>
                </a:solidFill>
                <a:latin typeface="Arial" pitchFamily="34" charset="0"/>
              </a:rPr>
              <a:t>Преимущества нашего решения для </a:t>
            </a:r>
            <a:r>
              <a:rPr lang="ru-RU" altLang="ru-RU" sz="1400" b="1" dirty="0" smtClean="0">
                <a:solidFill>
                  <a:srgbClr val="002E6C"/>
                </a:solidFill>
                <a:latin typeface="Arial" pitchFamily="34" charset="0"/>
              </a:rPr>
              <a:t>банка-партнера</a:t>
            </a:r>
            <a:endParaRPr lang="ru-RU" altLang="ru-RU" sz="1400" b="1" dirty="0">
              <a:solidFill>
                <a:srgbClr val="002E6C"/>
              </a:solidFill>
              <a:latin typeface="Arial" pitchFamily="34" charset="0"/>
            </a:endParaRPr>
          </a:p>
        </p:txBody>
      </p:sp>
      <p:sp>
        <p:nvSpPr>
          <p:cNvPr id="8" name="Прямоугольник 3"/>
          <p:cNvSpPr>
            <a:spLocks noChangeArrowheads="1"/>
          </p:cNvSpPr>
          <p:nvPr/>
        </p:nvSpPr>
        <p:spPr bwMode="auto">
          <a:xfrm>
            <a:off x="2422550" y="411510"/>
            <a:ext cx="6253906" cy="4616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>
              <a:defRPr/>
            </a:pP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АО «БАНК УРАЛСИБ»  </a:t>
            </a: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м, чтобы обеспечить банку-партнеру максимально </a:t>
            </a:r>
            <a:r>
              <a:rPr lang="ru-RU" alt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рогое</a:t>
            </a: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ачественное, надежное, быстро внедряемое комплексное решение «под ключ» по присоединению к СБП, что позволит:</a:t>
            </a:r>
          </a:p>
          <a:p>
            <a:pPr algn="just" eaLnBrk="1" hangingPunct="1">
              <a:defRPr/>
            </a:pPr>
            <a:endParaRPr lang="ru-RU" altLang="ru-RU" sz="12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eaLnBrk="1" hangingPunct="1">
              <a:buFontTx/>
              <a:buAutoNum type="arabicPeriod"/>
              <a:defRPr/>
            </a:pP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бежать расходов на доработку, поддержку и</a:t>
            </a:r>
            <a:r>
              <a:rPr lang="en-US" alt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-line</a:t>
            </a:r>
            <a:r>
              <a:rPr lang="ru-RU" alt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теграцию</a:t>
            </a: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граммных комплексов банка. Минимизировать риски, связанные с большими вложениями в условиях постоянных изменений.</a:t>
            </a:r>
          </a:p>
          <a:p>
            <a:pPr marL="342900" indent="-342900" algn="just" eaLnBrk="1" hangingPunct="1">
              <a:buFontTx/>
              <a:buAutoNum type="arabicPeriod"/>
              <a:defRPr/>
            </a:pP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ь быстрое подключение.</a:t>
            </a:r>
          </a:p>
          <a:p>
            <a:pPr marL="342900" indent="-342900" algn="just" eaLnBrk="1" hangingPunct="1">
              <a:buFontTx/>
              <a:buAutoNum type="arabicPeriod"/>
              <a:defRPr/>
            </a:pP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ить полностью готовое решение, включая мобильное приложение, за цену сопоставимую с наймом одного сотрудника. </a:t>
            </a:r>
          </a:p>
          <a:p>
            <a:pPr marL="342900" indent="-342900" algn="just" eaLnBrk="1" hangingPunct="1">
              <a:buFontTx/>
              <a:buAutoNum type="arabicPeriod"/>
              <a:defRPr/>
            </a:pP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ть банку свободу выбора. Так как решение не предполагает дополнительной интеграции, технически банк сможет отказаться от сервиса в любой момент без потерь.</a:t>
            </a:r>
          </a:p>
          <a:p>
            <a:pPr algn="just" eaLnBrk="1" hangingPunct="1">
              <a:defRPr/>
            </a:pPr>
            <a:endParaRPr lang="ru-RU" altLang="ru-RU" sz="12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defRPr/>
            </a:pP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 решения </a:t>
            </a:r>
            <a:r>
              <a:rPr lang="ru-RU" altLang="ru-RU" sz="12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О «БАНК УРАЛСИБ» </a:t>
            </a:r>
            <a:r>
              <a:rPr lang="ru-RU" alt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банка-партнера составит:</a:t>
            </a:r>
          </a:p>
          <a:p>
            <a:pPr algn="just" eaLnBrk="1" hangingPunct="1">
              <a:defRPr/>
            </a:pPr>
            <a:endParaRPr lang="en-US" altLang="ru-RU" sz="12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endParaRPr lang="ru-RU" altLang="ru-RU" sz="12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endParaRPr lang="ru-RU" altLang="ru-RU" sz="12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endParaRPr lang="ru-RU" altLang="ru-RU" sz="12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endParaRPr lang="ru-RU" altLang="ru-RU" sz="12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endParaRPr lang="ru-RU" altLang="ru-RU" sz="12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endParaRPr lang="ru-RU" altLang="ru-RU" sz="12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endParaRPr lang="ru-RU" altLang="ru-RU" sz="12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r>
              <a:rPr lang="ru-RU" altLang="ru-RU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Как мы этого достигнем?</a:t>
            </a:r>
            <a:endParaRPr lang="ru-RU" altLang="ru-RU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0194540"/>
              </p:ext>
            </p:extLst>
          </p:nvPr>
        </p:nvGraphicFramePr>
        <p:xfrm>
          <a:off x="425450" y="3435846"/>
          <a:ext cx="8293100" cy="106997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971705"/>
                <a:gridCol w="2321395"/>
              </a:tblGrid>
              <a:tr h="3598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 smtClean="0">
                          <a:effectLst/>
                        </a:rPr>
                        <a:t>300 </a:t>
                      </a:r>
                      <a:r>
                        <a:rPr lang="ru-RU" sz="1800" kern="1200" dirty="0">
                          <a:effectLst/>
                        </a:rPr>
                        <a:t>тысяч рублей за </a:t>
                      </a:r>
                      <a:r>
                        <a:rPr lang="ru-RU" sz="1800" kern="1200" dirty="0" smtClean="0">
                          <a:effectLst/>
                        </a:rPr>
                        <a:t>подключение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4" marR="68574" marT="9513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единовременно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4" marR="68574" marT="9513" marB="0"/>
                </a:tc>
              </a:tr>
              <a:tr h="7101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 </a:t>
                      </a:r>
                      <a:r>
                        <a:rPr lang="ru-RU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ысяч рублей </a:t>
                      </a: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информационно-технологическое обслуживание</a:t>
                      </a:r>
                      <a:endParaRPr lang="ru-RU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4" marR="68574" marT="9513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 b="1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жемесячно</a:t>
                      </a:r>
                      <a:endParaRPr lang="ru-RU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4" marR="68574" marT="9513" marB="0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10" name="Рисунок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86" t="29459" r="40521" b="39278"/>
          <a:stretch>
            <a:fillRect/>
          </a:stretch>
        </p:blipFill>
        <p:spPr bwMode="auto">
          <a:xfrm>
            <a:off x="323528" y="771550"/>
            <a:ext cx="1727200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328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763713" y="331788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9525"/>
            <a:ext cx="9144000" cy="36513"/>
          </a:xfrm>
          <a:prstGeom prst="rect">
            <a:avLst/>
          </a:prstGeom>
          <a:solidFill>
            <a:srgbClr val="FCD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25" y="5126038"/>
            <a:ext cx="9144000" cy="34925"/>
          </a:xfrm>
          <a:prstGeom prst="rect">
            <a:avLst/>
          </a:prstGeom>
          <a:solidFill>
            <a:srgbClr val="60B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46888" y="4762500"/>
            <a:ext cx="2133600" cy="2730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2AA48C-669E-41EC-B466-79A56F483569}" type="slidenum">
              <a:rPr lang="ru-RU" altLang="ru-RU">
                <a:solidFill>
                  <a:srgbClr val="898989"/>
                </a:solidFill>
              </a:rPr>
              <a:pPr/>
              <a:t>6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4076328" y="27995"/>
            <a:ext cx="506767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2E6C"/>
                </a:solidFill>
                <a:latin typeface="Arial" pitchFamily="34" charset="0"/>
              </a:rPr>
              <a:t> Технологическая схема подключения банка-партнера</a:t>
            </a:r>
          </a:p>
        </p:txBody>
      </p:sp>
      <p:pic>
        <p:nvPicPr>
          <p:cNvPr id="8" name="Picture 2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99" y="411510"/>
            <a:ext cx="7056341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328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763713" y="331788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9525"/>
            <a:ext cx="9144000" cy="36513"/>
          </a:xfrm>
          <a:prstGeom prst="rect">
            <a:avLst/>
          </a:prstGeom>
          <a:solidFill>
            <a:srgbClr val="FCD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25" y="5126038"/>
            <a:ext cx="9144000" cy="34925"/>
          </a:xfrm>
          <a:prstGeom prst="rect">
            <a:avLst/>
          </a:prstGeom>
          <a:solidFill>
            <a:srgbClr val="60B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46888" y="4762500"/>
            <a:ext cx="2133600" cy="2730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2AA48C-669E-41EC-B466-79A56F483569}" type="slidenum">
              <a:rPr lang="ru-RU" altLang="ru-RU">
                <a:solidFill>
                  <a:srgbClr val="898989"/>
                </a:solidFill>
              </a:rPr>
              <a:pPr/>
              <a:t>7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6732240" y="31055"/>
            <a:ext cx="23313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b="1" dirty="0" smtClean="0">
                <a:solidFill>
                  <a:srgbClr val="002E6C"/>
                </a:solidFill>
                <a:latin typeface="Arial" pitchFamily="34" charset="0"/>
              </a:rPr>
              <a:t>Бизнес-идея </a:t>
            </a:r>
            <a:r>
              <a:rPr lang="en-US" altLang="ru-RU" sz="1400" b="1" dirty="0">
                <a:solidFill>
                  <a:srgbClr val="002E6C"/>
                </a:solidFill>
                <a:latin typeface="Arial" pitchFamily="34" charset="0"/>
              </a:rPr>
              <a:t>WIN - WIN</a:t>
            </a:r>
            <a:endParaRPr lang="ru-RU" altLang="ru-RU" sz="1400" b="1" dirty="0">
              <a:solidFill>
                <a:srgbClr val="002E6C"/>
              </a:solidFill>
              <a:latin typeface="Arial" pitchFamily="34" charset="0"/>
            </a:endParaRPr>
          </a:p>
        </p:txBody>
      </p:sp>
      <p:sp>
        <p:nvSpPr>
          <p:cNvPr id="8" name="Прямоугольник 2"/>
          <p:cNvSpPr>
            <a:spLocks noChangeArrowheads="1"/>
          </p:cNvSpPr>
          <p:nvPr/>
        </p:nvSpPr>
        <p:spPr bwMode="auto">
          <a:xfrm>
            <a:off x="386333" y="483518"/>
            <a:ext cx="8677275" cy="4508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indent="0" eaLnBrk="1" hangingPunct="1">
              <a:defRPr/>
            </a:pP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altLang="ru-RU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Использование действующей службы поддержки банков-партнеров </a:t>
            </a:r>
            <a:r>
              <a:rPr lang="ru-RU" altLang="ru-RU" sz="11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ормате «одно окно»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 в подготовке документов для присоединения к Правилам СБП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логическая и техническая поддержка банков-партнеров</a:t>
            </a:r>
          </a:p>
          <a:p>
            <a:pPr marL="252412" indent="0" eaLnBrk="1" hangingPunct="1">
              <a:defRPr/>
            </a:pPr>
            <a:endParaRPr lang="ru-RU" altLang="ru-RU" sz="11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defRPr/>
            </a:pPr>
            <a:r>
              <a:rPr lang="ru-RU" altLang="ru-RU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 Использование существующей инфраструктуры процессинга</a:t>
            </a:r>
            <a:r>
              <a:rPr lang="ru-RU" altLang="ru-RU" sz="11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я доступного остатка на карте в процессинге (прием и отправка платежа) отражаются на счете в АБС банка-партнера штатным образом.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роблем с перерывами на закрытие операционного дня и технологическими перерывами, свойственных </a:t>
            </a:r>
            <a:r>
              <a:rPr lang="ru-RU" altLang="ru-RU" sz="11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С, </a:t>
            </a: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вается </a:t>
            </a:r>
            <a:r>
              <a:rPr lang="ru-RU" altLang="ru-RU" sz="11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е к мгновенной доступности средств для клиента.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до закупать и поддерживать </a:t>
            </a: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раструктуру 24/7.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доработок и расходов на сопровождение со стороны банков-партнеров.</a:t>
            </a:r>
          </a:p>
          <a:p>
            <a:pPr marL="0" indent="0" eaLnBrk="1" hangingPunct="1">
              <a:defRPr/>
            </a:pPr>
            <a:endParaRPr lang="ru-RU" altLang="ru-RU" sz="11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defRPr/>
            </a:pPr>
            <a:r>
              <a:rPr lang="ru-RU" altLang="ru-RU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Простая договорная конструкция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банка-партнера договор только с ПАО «БАНК УРАЛСИБ».</a:t>
            </a:r>
          </a:p>
          <a:p>
            <a:pPr marL="252412" indent="0" eaLnBrk="1" hangingPunct="1">
              <a:defRPr/>
            </a:pPr>
            <a:endParaRPr lang="ru-RU" altLang="ru-RU" sz="11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defRPr/>
            </a:pPr>
            <a:r>
              <a:rPr lang="ru-RU" altLang="ru-RU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Унифицированное мобильное приложение для банков-партнеров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ы банка-партнера используют мобильное приложение, брендированное под партнерскую программу </a:t>
            </a:r>
            <a:r>
              <a:rPr lang="en-US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LAS</a:t>
            </a: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не ограничивает подключение собственных систем ДБО банка-партнера.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endParaRPr lang="ru-RU" altLang="ru-RU" sz="11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defRPr/>
            </a:pPr>
            <a:r>
              <a:rPr lang="ru-RU" altLang="ru-RU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Централизованное решение по подключению к ОПКЦ СБП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О «БАНК УРАЛСИБ» централизовано проводит доработки и обновления системы взаимодействия с ОПКЦ СБП в соответствии с требованиями Оператора СБП.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-партнеры делегируют сопровождение средств криптографии (обмен ключами, поддержание 24/7, выполнения требований по защите информации).</a:t>
            </a:r>
          </a:p>
          <a:p>
            <a:pPr marL="450850" indent="-198438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замены или дублирования (резервирования) технологического решения взаимодействия с ОПКЦ СБП без какого-либо влияния на сторону банков-партнеров.</a:t>
            </a:r>
          </a:p>
        </p:txBody>
      </p:sp>
    </p:spTree>
    <p:extLst>
      <p:ext uri="{BB962C8B-B14F-4D97-AF65-F5344CB8AC3E}">
        <p14:creationId xmlns:p14="http://schemas.microsoft.com/office/powerpoint/2010/main" val="344328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763713" y="331788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9525"/>
            <a:ext cx="9144000" cy="36513"/>
          </a:xfrm>
          <a:prstGeom prst="rect">
            <a:avLst/>
          </a:prstGeom>
          <a:solidFill>
            <a:srgbClr val="FCD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25" y="5126038"/>
            <a:ext cx="9144000" cy="34925"/>
          </a:xfrm>
          <a:prstGeom prst="rect">
            <a:avLst/>
          </a:prstGeom>
          <a:solidFill>
            <a:srgbClr val="60B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46888" y="4762500"/>
            <a:ext cx="2133600" cy="2730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2AA48C-669E-41EC-B466-79A56F483569}" type="slidenum">
              <a:rPr lang="ru-RU" altLang="ru-RU">
                <a:solidFill>
                  <a:srgbClr val="898989"/>
                </a:solidFill>
              </a:rPr>
              <a:pPr/>
              <a:t>8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7" name="Прямоугольник 2"/>
          <p:cNvSpPr>
            <a:spLocks noChangeArrowheads="1"/>
          </p:cNvSpPr>
          <p:nvPr/>
        </p:nvSpPr>
        <p:spPr bwMode="auto">
          <a:xfrm>
            <a:off x="6084168" y="14516"/>
            <a:ext cx="295302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2E6C"/>
                </a:solidFill>
                <a:latin typeface="Arial" pitchFamily="34" charset="0"/>
              </a:rPr>
              <a:t>Схема договорных отношений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0156367"/>
              </p:ext>
            </p:extLst>
          </p:nvPr>
        </p:nvGraphicFramePr>
        <p:xfrm>
          <a:off x="369057" y="593954"/>
          <a:ext cx="8424935" cy="43407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04092"/>
                <a:gridCol w="1200129"/>
                <a:gridCol w="5820714"/>
              </a:tblGrid>
              <a:tr h="25715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</a:rPr>
                        <a:t>ПАО «БАНК УРАЛСИБ»</a:t>
                      </a:r>
                      <a:endParaRPr lang="ru-RU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</a:rPr>
                        <a:t>Банк-партнер</a:t>
                      </a:r>
                      <a:endParaRPr lang="ru-RU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/>
                </a:tc>
                <a:tc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говор на оказание услуг информационно-технологического взаимодействия с ОПКЦ СБП, включающий:</a:t>
                      </a:r>
                    </a:p>
                    <a:p>
                      <a:pPr marL="357188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канала подключения к СБП,</a:t>
                      </a:r>
                    </a:p>
                    <a:p>
                      <a:pPr marL="357188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ифрование сообщений, работа с криптографическими</a:t>
                      </a:r>
                      <a:r>
                        <a:rPr lang="ru-RU" sz="18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лючами,</a:t>
                      </a:r>
                      <a:endParaRPr lang="ru-RU" sz="1800" b="1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7188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дение</a:t>
                      </a:r>
                      <a:r>
                        <a:rPr lang="ru-RU" sz="18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базы </a:t>
                      </a: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нных о платежах и клиентах,</a:t>
                      </a:r>
                    </a:p>
                    <a:p>
                      <a:pPr marL="357188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отдельного мобильного приложения для совершения переводов и платежей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/>
                </a:tc>
              </a:tr>
              <a:tr h="9464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002E6C"/>
                          </a:solidFill>
                          <a:effectLst/>
                        </a:rPr>
                        <a:t>Банк-партнер</a:t>
                      </a:r>
                      <a:endParaRPr lang="ru-RU" sz="1800" b="1" dirty="0">
                        <a:solidFill>
                          <a:srgbClr val="002E6C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002E6C"/>
                          </a:solidFill>
                          <a:effectLst/>
                        </a:rPr>
                        <a:t>Банк России</a:t>
                      </a:r>
                      <a:endParaRPr lang="ru-RU" sz="1800" b="1" dirty="0">
                        <a:solidFill>
                          <a:srgbClr val="002E6C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002E6C"/>
                          </a:solidFill>
                          <a:effectLst/>
                        </a:rPr>
                        <a:t>Дополнительное соглашение </a:t>
                      </a:r>
                      <a:r>
                        <a:rPr lang="ru-RU" sz="1800" b="1" dirty="0">
                          <a:solidFill>
                            <a:srgbClr val="002E6C"/>
                          </a:solidFill>
                          <a:effectLst/>
                        </a:rPr>
                        <a:t>к договору </a:t>
                      </a:r>
                      <a:r>
                        <a:rPr lang="ru-RU" sz="1800" b="1" dirty="0" smtClean="0">
                          <a:solidFill>
                            <a:srgbClr val="002E6C"/>
                          </a:solidFill>
                          <a:effectLst/>
                        </a:rPr>
                        <a:t>корреспондентского счета</a:t>
                      </a:r>
                      <a:r>
                        <a:rPr lang="ru-RU" sz="1800" b="1" baseline="0" dirty="0" smtClean="0">
                          <a:solidFill>
                            <a:srgbClr val="002E6C"/>
                          </a:solidFill>
                          <a:effectLst/>
                        </a:rPr>
                        <a:t> о проведении расчетов в рамках СБП.</a:t>
                      </a:r>
                      <a:r>
                        <a:rPr lang="ru-RU" sz="1800" b="1" dirty="0">
                          <a:solidFill>
                            <a:srgbClr val="002E6C"/>
                          </a:solidFill>
                          <a:effectLst/>
                        </a:rPr>
                        <a:t> </a:t>
                      </a:r>
                      <a:endParaRPr lang="ru-RU" sz="1800" b="1" dirty="0">
                        <a:solidFill>
                          <a:srgbClr val="002E6C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65114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002E6C"/>
                          </a:solidFill>
                          <a:effectLst/>
                        </a:rPr>
                        <a:t>Банк-партнер</a:t>
                      </a:r>
                      <a:endParaRPr lang="ru-RU" sz="1800" b="1" dirty="0">
                        <a:solidFill>
                          <a:srgbClr val="002E6C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002E6C"/>
                          </a:solidFill>
                          <a:effectLst/>
                        </a:rPr>
                        <a:t>НСПК</a:t>
                      </a:r>
                      <a:endParaRPr lang="ru-RU" sz="1800" b="1" dirty="0">
                        <a:solidFill>
                          <a:srgbClr val="002E6C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002E6C"/>
                          </a:solidFill>
                          <a:effectLst/>
                        </a:rPr>
                        <a:t>Присоединение к правилам СБП, членство в </a:t>
                      </a:r>
                      <a:r>
                        <a:rPr lang="ru-RU" sz="1800" b="1" dirty="0" smtClean="0">
                          <a:solidFill>
                            <a:srgbClr val="002E6C"/>
                          </a:solidFill>
                          <a:effectLst/>
                        </a:rPr>
                        <a:t>платежной системе «Мир».</a:t>
                      </a:r>
                      <a:endParaRPr lang="ru-RU" sz="1800" b="1" dirty="0">
                        <a:solidFill>
                          <a:srgbClr val="002E6C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328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763713" y="331788"/>
            <a:ext cx="7389812" cy="0"/>
          </a:xfrm>
          <a:prstGeom prst="line">
            <a:avLst/>
          </a:prstGeom>
          <a:ln w="19050">
            <a:solidFill>
              <a:srgbClr val="204C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478" y="-1"/>
            <a:ext cx="200025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9525"/>
            <a:ext cx="9144000" cy="36513"/>
          </a:xfrm>
          <a:prstGeom prst="rect">
            <a:avLst/>
          </a:prstGeom>
          <a:solidFill>
            <a:srgbClr val="FCD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25" y="5126038"/>
            <a:ext cx="9144000" cy="34925"/>
          </a:xfrm>
          <a:prstGeom prst="rect">
            <a:avLst/>
          </a:prstGeom>
          <a:solidFill>
            <a:srgbClr val="60B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07282" y="4298383"/>
            <a:ext cx="2133600" cy="2730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2AA48C-669E-41EC-B466-79A56F483569}" type="slidenum">
              <a:rPr lang="ru-RU" altLang="ru-RU">
                <a:solidFill>
                  <a:srgbClr val="898989"/>
                </a:solidFill>
              </a:rPr>
              <a:pPr/>
              <a:t>9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7" name="Прямоугольник 2"/>
          <p:cNvSpPr>
            <a:spLocks noChangeArrowheads="1"/>
          </p:cNvSpPr>
          <p:nvPr/>
        </p:nvSpPr>
        <p:spPr bwMode="auto">
          <a:xfrm>
            <a:off x="4788024" y="-1"/>
            <a:ext cx="435597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2E6C"/>
                </a:solidFill>
                <a:latin typeface="Arial" pitchFamily="34" charset="0"/>
              </a:rPr>
              <a:t>Дорожная карта подключения банка-партнера</a:t>
            </a:r>
            <a:endParaRPr lang="ru-RU" altLang="ru-RU" sz="1400" b="1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Нашивка 7"/>
          <p:cNvSpPr/>
          <p:nvPr/>
        </p:nvSpPr>
        <p:spPr>
          <a:xfrm>
            <a:off x="2071770" y="766221"/>
            <a:ext cx="3082925" cy="48260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дготовка на стороне банка-партнера</a:t>
            </a:r>
          </a:p>
        </p:txBody>
      </p:sp>
      <p:sp>
        <p:nvSpPr>
          <p:cNvPr id="9" name="Нашивка 8"/>
          <p:cNvSpPr/>
          <p:nvPr/>
        </p:nvSpPr>
        <p:spPr>
          <a:xfrm>
            <a:off x="4880057" y="764633"/>
            <a:ext cx="2447925" cy="485775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ертификационное тестирование</a:t>
            </a:r>
          </a:p>
        </p:txBody>
      </p:sp>
      <p:sp>
        <p:nvSpPr>
          <p:cNvPr id="10" name="Нашивка 9"/>
          <p:cNvSpPr/>
          <p:nvPr/>
        </p:nvSpPr>
        <p:spPr>
          <a:xfrm>
            <a:off x="7105732" y="766221"/>
            <a:ext cx="1944688" cy="485775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ыход в промышленную эксплуатацию</a:t>
            </a:r>
          </a:p>
          <a:p>
            <a:pPr algn="ctr">
              <a:defRPr/>
            </a:pP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ятиугольник 10"/>
          <p:cNvSpPr/>
          <p:nvPr/>
        </p:nvSpPr>
        <p:spPr>
          <a:xfrm>
            <a:off x="250907" y="764633"/>
            <a:ext cx="2052638" cy="484188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егистрация участника СБП</a:t>
            </a: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422276" y="421732"/>
            <a:ext cx="11128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i="1" dirty="0">
                <a:latin typeface="Arial" pitchFamily="34" charset="0"/>
              </a:rPr>
              <a:t>    2 недели</a:t>
            </a:r>
          </a:p>
        </p:txBody>
      </p:sp>
      <p:sp>
        <p:nvSpPr>
          <p:cNvPr id="14" name="TextBox 34"/>
          <p:cNvSpPr txBox="1">
            <a:spLocks noChangeArrowheads="1"/>
          </p:cNvSpPr>
          <p:nvPr/>
        </p:nvSpPr>
        <p:spPr bwMode="auto">
          <a:xfrm>
            <a:off x="2863932" y="421733"/>
            <a:ext cx="11715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i="1">
                <a:latin typeface="Arial" pitchFamily="34" charset="0"/>
              </a:rPr>
              <a:t>     3 недели</a:t>
            </a:r>
          </a:p>
        </p:txBody>
      </p:sp>
      <p:sp>
        <p:nvSpPr>
          <p:cNvPr id="16" name="TextBox 35"/>
          <p:cNvSpPr txBox="1">
            <a:spLocks noChangeArrowheads="1"/>
          </p:cNvSpPr>
          <p:nvPr/>
        </p:nvSpPr>
        <p:spPr bwMode="auto">
          <a:xfrm>
            <a:off x="5527757" y="421733"/>
            <a:ext cx="10731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i="1">
                <a:latin typeface="Arial" pitchFamily="34" charset="0"/>
              </a:rPr>
              <a:t>   2 недели</a:t>
            </a:r>
          </a:p>
        </p:txBody>
      </p:sp>
      <p:sp>
        <p:nvSpPr>
          <p:cNvPr id="18" name="TextBox 39"/>
          <p:cNvSpPr txBox="1">
            <a:spLocks noChangeArrowheads="1"/>
          </p:cNvSpPr>
          <p:nvPr/>
        </p:nvSpPr>
        <p:spPr bwMode="auto">
          <a:xfrm>
            <a:off x="7558170" y="428083"/>
            <a:ext cx="11906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i="1">
                <a:latin typeface="Arial" pitchFamily="34" charset="0"/>
              </a:rPr>
              <a:t>1 недел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7420" y="1380583"/>
            <a:ext cx="8656637" cy="217488"/>
          </a:xfrm>
          <a:prstGeom prst="rect">
            <a:avLst/>
          </a:prstGeom>
          <a:solidFill>
            <a:schemeClr val="tx2">
              <a:lumMod val="40000"/>
              <a:lumOff val="60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216232" y="1747296"/>
            <a:ext cx="2663825" cy="298469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дить тарифы и лимиты для платежей СБП, предоставить их для настройки в ПАО «БАНК УРАЛСИБ»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ить оферту для клиентов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ить и предоставить данные по счетам и клиентам, которым будут доступны платежи СБП,  в ПАО «БАНК УРАЛСИБ».</a:t>
            </a:r>
          </a:p>
          <a:p>
            <a:pPr>
              <a:defRPr/>
            </a:pP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marL="228600" indent="-228600">
              <a:buFontTx/>
              <a:buAutoNum type="arabicPeriod"/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024520" y="1747296"/>
            <a:ext cx="2232025" cy="298469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овать заявку на портале НСПК и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йм-слот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титься в Банк России с заявкой на проведение тестирования. </a:t>
            </a:r>
          </a:p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ы с НСПК проводит ПАО «БАНК УРАЛСИБ». Тесты с Банком России банк проводит самостоятельно. </a:t>
            </a:r>
          </a:p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ить в Банк России письмо об успешном прохождение тестовых испытаний. 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401007" y="1747296"/>
            <a:ext cx="1506538" cy="298469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Определить дату готовности и заявить в НСПК.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50907" y="1747296"/>
            <a:ext cx="1820863" cy="298469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cmpd="sng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соединиться к правилам ОПКЦ СБП, заявить ПАО «БАНК УРАЛСИБ» как ТРР. </a:t>
            </a:r>
          </a:p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ить доп. соглашение к Договору корр. счета  с Банком России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ить Договор с ПАО «БАНК УРАЛСИБ».</a:t>
            </a:r>
          </a:p>
          <a:p>
            <a:pPr marL="228600" indent="-228600">
              <a:buFontTx/>
              <a:buAutoNum type="arabicPeriod"/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8" name="TextBox 14"/>
          <p:cNvSpPr txBox="1">
            <a:spLocks noChangeArrowheads="1"/>
          </p:cNvSpPr>
          <p:nvPr/>
        </p:nvSpPr>
        <p:spPr bwMode="auto">
          <a:xfrm>
            <a:off x="215316" y="4731990"/>
            <a:ext cx="87439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400" i="1" dirty="0">
                <a:solidFill>
                  <a:srgbClr val="C00000"/>
                </a:solidFill>
                <a:latin typeface="Arial" pitchFamily="34" charset="0"/>
              </a:rPr>
              <a:t>    Этапы 1 и 2 могут идти параллельно, таким образом подключение занимает 6 недель. </a:t>
            </a:r>
          </a:p>
        </p:txBody>
      </p:sp>
    </p:spTree>
    <p:extLst>
      <p:ext uri="{BB962C8B-B14F-4D97-AF65-F5344CB8AC3E}">
        <p14:creationId xmlns:p14="http://schemas.microsoft.com/office/powerpoint/2010/main" val="344328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MSKhAoOUSZQj00lVrq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MSKhAoOUSZQj00lVrq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pi4sJ8MUGODSlOJwEoY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64</TotalTime>
  <Words>1096</Words>
  <Application>Microsoft Office PowerPoint</Application>
  <PresentationFormat>Экран (16:9)</PresentationFormat>
  <Paragraphs>175</Paragraphs>
  <Slides>11</Slides>
  <Notes>10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Тема Office</vt:lpstr>
      <vt:lpstr>1_Тема Office</vt:lpstr>
      <vt:lpstr>2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Uralsi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ели и задачи дирекции</dc:title>
  <dc:creator>Киреева Татьяна Александровна</dc:creator>
  <cp:lastModifiedBy>Uralsib User</cp:lastModifiedBy>
  <cp:revision>280</cp:revision>
  <dcterms:created xsi:type="dcterms:W3CDTF">2017-11-10T10:02:36Z</dcterms:created>
  <dcterms:modified xsi:type="dcterms:W3CDTF">2020-02-26T07:37:50Z</dcterms:modified>
</cp:coreProperties>
</file>